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328" r:id="rId2"/>
    <p:sldId id="330" r:id="rId3"/>
    <p:sldId id="341" r:id="rId4"/>
    <p:sldId id="338" r:id="rId5"/>
    <p:sldId id="340" r:id="rId6"/>
    <p:sldId id="342" r:id="rId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96" d="100"/>
          <a:sy n="96" d="100"/>
        </p:scale>
        <p:origin x="648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5-05-0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5-05-06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hyperlink" Target="https://sydostrasjukvardsregionen.se/regionsjukvardsledningen/processtod-och-mallar/handlingsplan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1524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 dirty="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ÖNH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5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Uppdaterad: 2025-05-05 (vers. 10)</a:t>
            </a: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66CE8D-B958-435E-8F94-2AB6E134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Instruktio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B14E13-E404-44D3-B4CC-5802DAE1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71734"/>
            <a:ext cx="10972800" cy="3987020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/>
              <a:t>Den översiktliga handlingsplanen är en levande lägesbild som används i dialog för kontinuerlig planering, uppföljning och rapporter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Nationellt insatsområde: </a:t>
            </a:r>
            <a:r>
              <a:rPr lang="sv-SE" sz="2000" dirty="0"/>
              <a:t>insatsområden från NPO verksamhetsplan. Lämnas tom i de fall RPO/RSG:s prioriterade område inte utgår från nationellt insatsområde</a:t>
            </a:r>
            <a:endParaRPr lang="sv-SE" sz="1467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Prioriterat område och patientlöfte:</a:t>
            </a:r>
            <a:r>
              <a:rPr lang="sv-SE" sz="2000" dirty="0"/>
              <a:t> RPO/RSG:s prioriterade områden kopplade till sjukvårdsregionens patientlöf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Aktiviteter:</a:t>
            </a:r>
            <a:r>
              <a:rPr lang="sv-SE" sz="2000" dirty="0"/>
              <a:t> ange hur det sjukvårdsregionala arbetet bedrivs, tidplan och samverk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Uppföljning:</a:t>
            </a:r>
            <a:r>
              <a:rPr lang="sv-SE" sz="2000" dirty="0"/>
              <a:t> ange metod, kvalitetsindikatorer, </a:t>
            </a:r>
            <a:r>
              <a:rPr lang="sv-SE" sz="2000" dirty="0" err="1"/>
              <a:t>målvärden</a:t>
            </a:r>
            <a:r>
              <a:rPr lang="sv-SE" sz="2000" dirty="0"/>
              <a:t> och resul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Status:</a:t>
            </a:r>
            <a:r>
              <a:rPr lang="sv-SE" sz="2000" dirty="0"/>
              <a:t> ange om arbetet går enligt plan (grön), pågår med mindre problem (gul), </a:t>
            </a:r>
            <a:br>
              <a:rPr lang="sv-SE" sz="2000" dirty="0"/>
            </a:br>
            <a:r>
              <a:rPr lang="sv-SE" sz="2000" dirty="0"/>
              <a:t>har allvarliga problem (röd) eller är avslutat (kryssruta)</a:t>
            </a:r>
          </a:p>
          <a:p>
            <a:r>
              <a:rPr lang="sv-SE" sz="2000" dirty="0"/>
              <a:t>Använd sidorna ”Resultat” och ”Utmaningar” för att kommentera resultat, utveckling, behov av samverkan eller ledningsstöd, framgångsfaktorer eller hinder för det sjukvårdsregionala samarbetet.</a:t>
            </a:r>
          </a:p>
          <a:p>
            <a:r>
              <a:rPr lang="sv-SE" sz="2000" dirty="0">
                <a:hlinkClick r:id="rId2"/>
              </a:rPr>
              <a:t>Läs mer om handlingsplan på sjukvårdsregionens webbplats</a:t>
            </a:r>
            <a:endParaRPr lang="sv-SE" sz="2000" dirty="0"/>
          </a:p>
        </p:txBody>
      </p:sp>
      <p:grpSp>
        <p:nvGrpSpPr>
          <p:cNvPr id="8" name="Grupp 7"/>
          <p:cNvGrpSpPr/>
          <p:nvPr/>
        </p:nvGrpSpPr>
        <p:grpSpPr>
          <a:xfrm>
            <a:off x="9871586" y="4626654"/>
            <a:ext cx="1178350" cy="286086"/>
            <a:chOff x="9871586" y="4715666"/>
            <a:chExt cx="1178350" cy="286086"/>
          </a:xfrm>
        </p:grpSpPr>
        <p:pic>
          <p:nvPicPr>
            <p:cNvPr id="4" name="Bildobjekt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1586" y="4716002"/>
              <a:ext cx="285750" cy="285750"/>
            </a:xfrm>
            <a:prstGeom prst="rect">
              <a:avLst/>
            </a:prstGeom>
          </p:spPr>
        </p:pic>
        <p:pic>
          <p:nvPicPr>
            <p:cNvPr id="5" name="Bildobjekt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655" y="4716002"/>
              <a:ext cx="285750" cy="285750"/>
            </a:xfrm>
            <a:prstGeom prst="rect">
              <a:avLst/>
            </a:prstGeom>
          </p:spPr>
        </p:pic>
        <p:pic>
          <p:nvPicPr>
            <p:cNvPr id="6" name="Bildobjekt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6154" y="4716002"/>
              <a:ext cx="285750" cy="285750"/>
            </a:xfrm>
            <a:prstGeom prst="rect">
              <a:avLst/>
            </a:prstGeom>
          </p:spPr>
        </p:pic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5936" y="4715666"/>
              <a:ext cx="254000" cy="266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702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7508545"/>
              </p:ext>
            </p:extLst>
          </p:nvPr>
        </p:nvGraphicFramePr>
        <p:xfrm>
          <a:off x="15835" y="0"/>
          <a:ext cx="12184048" cy="58521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8839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86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7778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66747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990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</a:t>
                      </a:r>
                      <a:r>
                        <a:rPr lang="sv-SE" sz="1600" i="1" dirty="0"/>
                        <a:t>patientlöften</a:t>
                      </a:r>
                      <a:endParaRPr lang="sv-SE" sz="1600" i="1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281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ära av varandra</a:t>
                      </a:r>
                      <a:b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för att erbjuda diagnostik och behandling och uppföljning enligt bästa kunskap i varje möte och för jämlik vård</a:t>
                      </a:r>
                      <a:endParaRPr lang="sv-SE" sz="800" i="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beslutade om att fortsätta med detta inslag under 2025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nder 2024 var punkten ”Största förbättringen på våra kliniker, lära av varandra” ett stående inslag på RPOs möten. Ansvaret cirkulerar mellan klinikerna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7104048"/>
                  </a:ext>
                </a:extLst>
              </a:tr>
              <a:tr h="94346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000" b="1" i="0" dirty="0">
                          <a:latin typeface="+mj-lt"/>
                        </a:rPr>
                        <a:t>Botoxinjektioner vid retrograd </a:t>
                      </a:r>
                      <a:r>
                        <a:rPr lang="sv-SE" sz="1000" b="1" i="0" dirty="0" err="1">
                          <a:latin typeface="+mj-lt"/>
                        </a:rPr>
                        <a:t>chricofaryngeus</a:t>
                      </a:r>
                      <a:r>
                        <a:rPr lang="sv-SE" sz="1000" b="1" i="0" dirty="0">
                          <a:latin typeface="+mj-lt"/>
                        </a:rPr>
                        <a:t>-dysfunktio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ör vilken målgrupp och på vilken indikation kan </a:t>
                      </a:r>
                      <a:r>
                        <a:rPr lang="sv-SE" sz="1000" b="1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otexbehandling</a:t>
                      </a:r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vara aktuell?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och uppföljning </a:t>
                      </a: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ligt bästa kunskap i varje möte och för jämlik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för att erbjuda kostnadseffektiv, diagnostik, behandling och uppföljning enligt bästa kunskap i varje möte och för jämlik vård</a:t>
                      </a:r>
                      <a:endParaRPr lang="sv-SE" sz="1000" b="1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har identifierat att det råder stor variation avseende utredning och behandling av retrograd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hricofaryngeusdysfunktion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, ett område med lågt vetenskapligt underlag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har gett ett uppdrag till RAG esofagus att ta fram gemensamma riktlinjer för SÖSR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åren 2026,</a:t>
                      </a:r>
                      <a:r>
                        <a:rPr lang="sv-SE" sz="105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tionellt</a:t>
                      </a:r>
                      <a:r>
                        <a:rPr lang="sv-SE" sz="105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kunskapsstöd ska tas fram</a:t>
                      </a:r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7155478"/>
                  </a:ext>
                </a:extLst>
              </a:tr>
              <a:tr h="1436866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hinologi – Mb </a:t>
                      </a:r>
                      <a:r>
                        <a:rPr lang="sv-SE" sz="1000" b="1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sler</a:t>
                      </a:r>
                      <a:endParaRPr lang="sv-SE" sz="1000" b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0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l" defTabSz="1219170" rtl="0" eaLnBrk="1" latinLnBrk="0" hangingPunct="1"/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uvarande upplägg för Mb </a:t>
                      </a:r>
                      <a:r>
                        <a:rPr lang="sv-SE" sz="1000" b="1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slervård</a:t>
                      </a: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innebär att </a:t>
                      </a:r>
                      <a:r>
                        <a:rPr lang="sv-SE" sz="1000" b="1" kern="120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tienteråterkommande</a:t>
                      </a: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emitteras utanför Sydöstra</a:t>
                      </a:r>
                    </a:p>
                    <a:p>
                      <a:pPr marL="0" lvl="0" algn="l" defTabSz="1219170" rtl="0" eaLnBrk="1" latinLnBrk="0" hangingPunct="1"/>
                      <a:r>
                        <a:rPr lang="sv-SE" sz="1000" b="0" i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 erbjudas vård som är lätt tillgänglig för kontakt, bedömning och besök</a:t>
                      </a:r>
                    </a:p>
                    <a:p>
                      <a:pPr marL="0" lvl="0" algn="l" defTabSz="1219170" rtl="0" eaLnBrk="1" latinLnBrk="0" hangingPunct="1"/>
                      <a:r>
                        <a:rPr lang="sv-SE" sz="1000" b="0" i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PO vill inventera behovet och möjligheterna av en gemensam satsning/investering för att kunna genomföra vården för patienter med Mb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sler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inom Sydöstra i högre grad. Vi ser också ett behov av att bygga upp en större lokal kunskap i SÖSR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Uppdrag har givits till RAG Rhinologi</a:t>
                      </a:r>
                    </a:p>
                    <a:p>
                      <a:pPr marL="0" lvl="0" algn="l" defTabSz="1219170" rtl="0" eaLnBrk="1" latinLnBrk="0" hangingPunct="1"/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inköping har tagit hem laserkirurgi för Mb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sler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. Mål</a:t>
                      </a:r>
                      <a:r>
                        <a:rPr lang="sv-SE" sz="105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att Linköping ska ta ett större ansvar för helheten kring denna patientgrupp. Förslag besöka Lund eller  Uppsala för att lära sig mer. 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b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ånga kliniker kan vara involverade. Förslag samla ihop kvinnoklinik,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g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/tarm, CSD , detta för att kunna bemöta helheten. 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0819308"/>
                  </a:ext>
                </a:extLst>
              </a:tr>
              <a:tr h="1032836">
                <a:tc>
                  <a:txBody>
                    <a:bodyPr/>
                    <a:lstStyle/>
                    <a:p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habilitering av patienter behandlade för huvud- halscanc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000" b="1" baseline="0" dirty="0">
                          <a:latin typeface="+mj-lt"/>
                        </a:rPr>
                        <a:t>Implementering av nationellt vårdprogram för cancerrehabilitering och specifikt för ÖNH</a:t>
                      </a:r>
                      <a:br>
                        <a:rPr lang="sv-SE" sz="1000" b="0" baseline="0" dirty="0">
                          <a:latin typeface="+mj-lt"/>
                        </a:rPr>
                      </a:br>
                      <a:r>
                        <a:rPr lang="sv-SE" sz="1000" b="0" i="1" baseline="0" dirty="0">
                          <a:latin typeface="+mj-lt"/>
                        </a:rPr>
                        <a:t>- för att erbjuda diagnostik och behandling och uppföljning enligt bästa kunskap i varje möte och för jämlik vård</a:t>
                      </a:r>
                    </a:p>
                    <a:p>
                      <a:pPr lvl="0"/>
                      <a:r>
                        <a:rPr lang="sv-SE" sz="1000" b="0" i="1" baseline="0" dirty="0">
                          <a:latin typeface="+mj-lt"/>
                        </a:rPr>
                        <a:t>- för att patienten ska vara delaktig och välinformerad genom hela vårdkedjan </a:t>
                      </a:r>
                      <a:endParaRPr lang="sv-SE" sz="10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dirty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Invänta NAG s arbete specifikt ÖNH . </a:t>
                      </a:r>
                    </a:p>
                    <a:p>
                      <a:pPr marL="0" lvl="0" algn="l" defTabSz="1219170" rtl="0" eaLnBrk="1" latinLnBrk="0" hangingPunct="1"/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a 100 sidor lång bilaga som ska vara en del i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. Beräknas klar Q3 2025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endParaRPr lang="sv-SE" sz="105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s arbete specifikt ÖNH 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946515"/>
                  </a:ext>
                </a:extLst>
              </a:tr>
            </a:tbl>
          </a:graphicData>
        </a:graphic>
      </p:graphicFrame>
      <p:sp>
        <p:nvSpPr>
          <p:cNvPr id="4" name="Ellips 3">
            <a:extLst>
              <a:ext uri="{FF2B5EF4-FFF2-40B4-BE49-F238E27FC236}">
                <a16:creationId xmlns:a16="http://schemas.microsoft.com/office/drawing/2014/main" id="{31942E4B-88A8-D3B0-C199-DD27E4865EB8}"/>
              </a:ext>
            </a:extLst>
          </p:cNvPr>
          <p:cNvSpPr/>
          <p:nvPr/>
        </p:nvSpPr>
        <p:spPr>
          <a:xfrm>
            <a:off x="11570317" y="881670"/>
            <a:ext cx="296780" cy="2938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C0DB984B-41F2-8B77-E38D-90B728AF5BD6}"/>
              </a:ext>
            </a:extLst>
          </p:cNvPr>
          <p:cNvSpPr/>
          <p:nvPr/>
        </p:nvSpPr>
        <p:spPr>
          <a:xfrm>
            <a:off x="11568367" y="4003182"/>
            <a:ext cx="296780" cy="2938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Ellips 11">
            <a:extLst>
              <a:ext uri="{FF2B5EF4-FFF2-40B4-BE49-F238E27FC236}">
                <a16:creationId xmlns:a16="http://schemas.microsoft.com/office/drawing/2014/main" id="{FE5D2E1D-6B8C-2957-BA7A-73CA4151E802}"/>
              </a:ext>
            </a:extLst>
          </p:cNvPr>
          <p:cNvSpPr/>
          <p:nvPr/>
        </p:nvSpPr>
        <p:spPr>
          <a:xfrm>
            <a:off x="11568367" y="5166361"/>
            <a:ext cx="296780" cy="293815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31942E4B-88A8-D3B0-C199-DD27E4865EB8}"/>
              </a:ext>
            </a:extLst>
          </p:cNvPr>
          <p:cNvSpPr/>
          <p:nvPr/>
        </p:nvSpPr>
        <p:spPr>
          <a:xfrm>
            <a:off x="11588320" y="2044849"/>
            <a:ext cx="276827" cy="28055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577760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4480465"/>
              </p:ext>
            </p:extLst>
          </p:nvPr>
        </p:nvGraphicFramePr>
        <p:xfrm>
          <a:off x="1" y="0"/>
          <a:ext cx="12191999" cy="603868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231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53906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07182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211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NAG HNS audiologi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baseline="0" dirty="0">
                          <a:latin typeface="+mj-lt"/>
                        </a:rPr>
                        <a:t>Stärkt och jämlik hörsel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- för att patienten och närstående ska vara delaktig och välinformerad genom hela vårdkedjan </a:t>
                      </a:r>
                      <a:endParaRPr lang="sv-SE" sz="105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G audiologi har identifierat behov av uppdatering avseende riktlinje utredning barnhörsel </a:t>
                      </a:r>
                      <a:r>
                        <a:rPr lang="sv-SE" sz="1000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kl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genetisk utredning. SÖSR grupp genetisk utredning är bildad som stöd för lärande och samarbete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PO har gett till RAG audiologi i uppdrag att under 2025 uppdatera riktlinjen för barnhörsel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highlight>
                          <a:srgbClr val="00FF00"/>
                        </a:highligh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åminnelse till RA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564930"/>
                  </a:ext>
                </a:extLst>
              </a:tr>
              <a:tr h="91775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000" b="1" i="0" dirty="0">
                          <a:latin typeface="+mj-lt"/>
                        </a:rPr>
                        <a:t>Kvalitetsregister - uppfölj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pföljning och analys utvalda indikatorer.</a:t>
                      </a:r>
                      <a:endParaRPr lang="sv-SE" sz="1000" i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  <a:endParaRPr lang="sv-SE" sz="10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Återkommande arbete för RPO där ca 40 indikatorer från olika register valts ut.</a:t>
                      </a:r>
                    </a:p>
                    <a:p>
                      <a:r>
                        <a:rPr lang="sv-SE" sz="10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äs mer webbsidan sydöstra, låst </a:t>
                      </a:r>
                      <a:r>
                        <a:rPr lang="sv-SE" sz="1000" i="0" baseline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xls.fil</a:t>
                      </a:r>
                      <a:endParaRPr lang="sv-SE" sz="1000" i="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Årligen återkommande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7500452"/>
                  </a:ext>
                </a:extLst>
              </a:tr>
              <a:tr h="92059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1" i="0" dirty="0">
                          <a:latin typeface="+mj-lt"/>
                        </a:rPr>
                        <a:t>Tonsilloperationsregistr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ärkt och jämlik, kall teknik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  <a:p>
                      <a:endParaRPr lang="sv-SE" sz="11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JL har bra resultat som RÖ och RKL vill följa efter. Målet är att gå från varm teknik till kall teknik och att klinikerna gemensamt i sydöstra når 65 % innan 2026 års utgå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ontinuerligt och årlige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8002913"/>
                  </a:ext>
                </a:extLst>
              </a:tr>
              <a:tr h="920599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1" i="0" dirty="0" err="1">
                          <a:latin typeface="+mj-lt"/>
                        </a:rPr>
                        <a:t>Septumplastikregistret</a:t>
                      </a:r>
                      <a:endParaRPr lang="sv-SE" sz="11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100" b="1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eptumplastikregistret</a:t>
                      </a:r>
                      <a:r>
                        <a:rPr lang="sv-SE" sz="11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är ett register där anslutningsgraden per region är låg vilket innebär att registret hotas av att få upphöra</a:t>
                      </a:r>
                      <a:br>
                        <a:rPr lang="sv-SE" sz="11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sv-SE" sz="11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erbjudas vård som är lätt tillgänglig för kontakt, bedömning och besök</a:t>
                      </a:r>
                    </a:p>
                    <a:p>
                      <a:pPr marL="0" indent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100" b="0" i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- för att erbjuda diagnostik, behandling och uppföljning enligt bästa kunskap i varje möte och för jämlik vård</a:t>
                      </a:r>
                      <a:endParaRPr lang="sv-SE" sz="11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pektive region och klinik tar ansvar att arbeta med anslutningen till registret. Målet är att sydöstra når 100% </a:t>
                      </a:r>
                      <a:r>
                        <a:rPr lang="sv-SE" sz="1100" i="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nan 2025 </a:t>
                      </a:r>
                      <a:r>
                        <a:rPr lang="sv-SE" sz="1100" i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års utgå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ontinuerligt och årlige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292145"/>
                  </a:ext>
                </a:extLst>
              </a:tr>
              <a:tr h="106708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1" i="0" dirty="0">
                          <a:latin typeface="+mj-lt"/>
                        </a:rPr>
                        <a:t>Ej specifikt område utan berör samtliga insatsområ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1" dirty="0">
                          <a:solidFill>
                            <a:schemeClr val="tx1"/>
                          </a:solidFill>
                          <a:latin typeface="+mj-lt"/>
                        </a:rPr>
                        <a:t>Ökat</a:t>
                      </a:r>
                      <a:r>
                        <a:rPr lang="sv-SE" sz="1100" b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 vetenskapligt utbyte inom SÖSR</a:t>
                      </a:r>
                      <a:br>
                        <a:rPr lang="sv-SE" sz="110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10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sv-SE" sz="1100" i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För att facilitera och involvera arbete med patientnära forskning</a:t>
                      </a:r>
                      <a:endParaRPr lang="sv-SE" sz="11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tt uppföljande gemensamt vetenskapligt möte planeras 2025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älldes in, 2024 och 2025. Möte planerat fredag </a:t>
                      </a:r>
                      <a:r>
                        <a:rPr lang="sv-SE" sz="1000" i="0" kern="1200" baseline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 april 2026.</a:t>
                      </a: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8953120"/>
                  </a:ext>
                </a:extLst>
              </a:tr>
            </a:tbl>
          </a:graphicData>
        </a:graphic>
      </p:graphicFrame>
      <p:sp>
        <p:nvSpPr>
          <p:cNvPr id="3" name="Ellips 2">
            <a:extLst>
              <a:ext uri="{FF2B5EF4-FFF2-40B4-BE49-F238E27FC236}">
                <a16:creationId xmlns:a16="http://schemas.microsoft.com/office/drawing/2014/main" id="{73ED1EEB-7AF3-58E2-2DBF-46EFA3D79D28}"/>
              </a:ext>
            </a:extLst>
          </p:cNvPr>
          <p:cNvSpPr/>
          <p:nvPr/>
        </p:nvSpPr>
        <p:spPr>
          <a:xfrm>
            <a:off x="11594428" y="2147681"/>
            <a:ext cx="296780" cy="3190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DB17A85C-E0C8-2902-F158-07EDAF37EF78}"/>
              </a:ext>
            </a:extLst>
          </p:cNvPr>
          <p:cNvSpPr/>
          <p:nvPr/>
        </p:nvSpPr>
        <p:spPr>
          <a:xfrm>
            <a:off x="11594428" y="703544"/>
            <a:ext cx="296780" cy="319088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Ellips 9">
            <a:extLst>
              <a:ext uri="{FF2B5EF4-FFF2-40B4-BE49-F238E27FC236}">
                <a16:creationId xmlns:a16="http://schemas.microsoft.com/office/drawing/2014/main" id="{782594C8-5D9A-DD67-380B-1A211D7E044A}"/>
              </a:ext>
            </a:extLst>
          </p:cNvPr>
          <p:cNvSpPr/>
          <p:nvPr/>
        </p:nvSpPr>
        <p:spPr>
          <a:xfrm>
            <a:off x="11606776" y="5272837"/>
            <a:ext cx="296780" cy="31908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F4D55F4B-B843-332E-E396-0266A53FBDFD}"/>
              </a:ext>
            </a:extLst>
          </p:cNvPr>
          <p:cNvSpPr/>
          <p:nvPr/>
        </p:nvSpPr>
        <p:spPr>
          <a:xfrm>
            <a:off x="11594428" y="2948612"/>
            <a:ext cx="296780" cy="3190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105553F3-0BDC-10B5-2A81-FEB5269623F3}"/>
              </a:ext>
            </a:extLst>
          </p:cNvPr>
          <p:cNvSpPr/>
          <p:nvPr/>
        </p:nvSpPr>
        <p:spPr>
          <a:xfrm>
            <a:off x="11604915" y="4147788"/>
            <a:ext cx="296780" cy="31908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2CD78F8E-D1E8-8F19-0C98-4E0FE3D47E3D}"/>
              </a:ext>
            </a:extLst>
          </p:cNvPr>
          <p:cNvSpPr/>
          <p:nvPr/>
        </p:nvSpPr>
        <p:spPr>
          <a:xfrm>
            <a:off x="11600751" y="1374403"/>
            <a:ext cx="296780" cy="319088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02296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1839296"/>
              </p:ext>
            </p:extLst>
          </p:nvPr>
        </p:nvGraphicFramePr>
        <p:xfrm>
          <a:off x="15498" y="0"/>
          <a:ext cx="12176501" cy="66276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720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015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323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722748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279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</a:t>
                      </a:r>
                      <a:r>
                        <a:rPr lang="sv-SE" sz="1600" i="1" dirty="0"/>
                        <a:t>patientlöften</a:t>
                      </a:r>
                      <a:endParaRPr lang="sv-SE" sz="1600" i="1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9661">
                <a:tc>
                  <a:txBody>
                    <a:bodyPr/>
                    <a:lstStyle/>
                    <a:p>
                      <a:r>
                        <a:rPr lang="sv-SE" sz="1000" b="1" dirty="0">
                          <a:latin typeface="+mj-lt"/>
                        </a:rPr>
                        <a:t>Rhinologi </a:t>
                      </a: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– </a:t>
                      </a:r>
                      <a:r>
                        <a:rPr lang="sv-SE" sz="1000" b="1" dirty="0">
                          <a:latin typeface="+mj-lt"/>
                        </a:rPr>
                        <a:t>nästäpp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tredning och kirurgisk behandling av nästäppa</a:t>
                      </a:r>
                      <a:br>
                        <a:rPr lang="sv-SE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sv-SE" sz="1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</a:t>
                      </a:r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och uppföljn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ppdrag RAG rhinologi –</a:t>
                      </a:r>
                    </a:p>
                    <a:p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cess SÖSR avslutas.</a:t>
                      </a:r>
                    </a:p>
                    <a:p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cess nationellt fortgå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Återkoppling RPO våren 2025</a:t>
                      </a:r>
                    </a:p>
                    <a:p>
                      <a:pPr marL="0" algn="l" defTabSz="121917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tionellt uppdrag har tillkommit för NAG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inonasala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jukdomar, RPO eniga om att invänta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:s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resultat. Process SÖSR avslutas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378023"/>
                  </a:ext>
                </a:extLst>
              </a:tr>
              <a:tr h="1189661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HNS audiologi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baseline="0" dirty="0">
                          <a:latin typeface="+mj-lt"/>
                        </a:rPr>
                        <a:t>Stärkt och jämlik hörsel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- för att patienten och närstående ska vara delaktig och välinformerad genom hela vårdkedjan </a:t>
                      </a:r>
                      <a:endParaRPr lang="sv-SE" sz="105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egionalt hörselvårdsmöte genomfördes </a:t>
                      </a:r>
                      <a:r>
                        <a:rPr lang="sv-SE" sz="1050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pt</a:t>
                      </a: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024. Ca 60 deltagare såsom audionomer, tekniker, pedagoger, administratörer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5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är programmet </a:t>
                      </a:r>
                      <a:r>
                        <a:rPr lang="sv-SE" sz="1050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la</a:t>
                      </a: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belyste vårdförlopp, kloka </a:t>
                      </a:r>
                      <a:r>
                        <a:rPr lang="sv-SE" sz="1050" i="0" kern="1200" baseline="0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linsiska</a:t>
                      </a: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val, lära av varandr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rbetsgruppen bestående av cheferna från regionernas hörselvård skickade i anslutning till träffen ut en enkät vars resultat var mycket bra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05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050" b="0" i="0" kern="120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imulansmedel från SÖSR fanns som stöd och motsvarande ca 60% av den totala kostnaden</a:t>
                      </a:r>
                      <a:r>
                        <a:rPr lang="sv-SE" sz="105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63914168"/>
                  </a:ext>
                </a:extLst>
              </a:tr>
              <a:tr h="97474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b="1" i="0" dirty="0">
                          <a:latin typeface="+mj-lt"/>
                        </a:rPr>
                        <a:t>Ej specifikt område utan berör samtliga insatsområ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1" dirty="0">
                          <a:solidFill>
                            <a:schemeClr val="tx1"/>
                          </a:solidFill>
                          <a:latin typeface="+mj-lt"/>
                        </a:rPr>
                        <a:t>Ökat</a:t>
                      </a:r>
                      <a:r>
                        <a:rPr lang="sv-SE" sz="1300" b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 vetenskapligt utbyte inom SÖSR</a:t>
                      </a:r>
                      <a:br>
                        <a:rPr lang="sv-SE" sz="130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30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sv-SE" sz="1200" i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För att facilitera och involvera arbete med patientnära forskning</a:t>
                      </a:r>
                      <a:endParaRPr lang="sv-SE" sz="12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tt uppföljande gemensamt vetenskapligt möte hösten  2024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omfördes ej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Inställd </a:t>
                      </a:r>
                      <a:r>
                        <a:rPr lang="sv-SE" sz="1300" kern="1200" baseline="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pga</a:t>
                      </a: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av bristande återkoppling från tillfrågade Verksamhetschef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734397"/>
                  </a:ext>
                </a:extLst>
              </a:tr>
              <a:tr h="1350040"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+mj-lt"/>
                        </a:rPr>
                        <a:t>Kunskapsstö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1" dirty="0">
                          <a:solidFill>
                            <a:schemeClr val="tx1"/>
                          </a:solidFill>
                          <a:latin typeface="+mj-lt"/>
                        </a:rPr>
                        <a:t>Implementering av kunskapsstöd</a:t>
                      </a:r>
                      <a:br>
                        <a:rPr lang="sv-SE" sz="13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tvärdering</a:t>
                      </a:r>
                      <a:r>
                        <a:rPr lang="sv-SE" sz="120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v behovet av stödorganisation för implementering av vårdförlopp (PSVF)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</a:rPr>
                        <a:t>Beslut 2022 att stämma av inför att nya PSVF publicerats och ska införas. Beslut november 2023 att respektive region tar eget ansvar för att slutföra handläggning och införand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576250"/>
                  </a:ext>
                </a:extLst>
              </a:tr>
              <a:tr h="1083172">
                <a:tc>
                  <a:txBody>
                    <a:bodyPr/>
                    <a:lstStyle/>
                    <a:p>
                      <a:endParaRPr lang="sv-SE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nign hudkirurgi </a:t>
                      </a:r>
                      <a:br>
                        <a:rPr lang="sv-SE" sz="9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för att erbjuda kostnadseffektiv, diagnostik, behandling och uppföljning enligt bästa kunskap i varje möte och för jämlik vår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för att patienten ska vara delaktig och välinformerad genom hela vårdkedjan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eslut på novembermöte 2023 att Kalmar tar fram för Keloi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almar har tagit fram för Keloid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Övrig benign kirurgi har diskuteras med beslut att avstå från gemensamt framtagna riktlinj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6" name="Ellips 5">
            <a:extLst>
              <a:ext uri="{FF2B5EF4-FFF2-40B4-BE49-F238E27FC236}">
                <a16:creationId xmlns:a16="http://schemas.microsoft.com/office/drawing/2014/main" id="{8A421B5C-9AD7-44C2-02C9-2BB4FEC1BBE2}"/>
              </a:ext>
            </a:extLst>
          </p:cNvPr>
          <p:cNvSpPr/>
          <p:nvPr/>
        </p:nvSpPr>
        <p:spPr>
          <a:xfrm>
            <a:off x="11580865" y="3686982"/>
            <a:ext cx="296780" cy="29381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B27AEFBA-AFC8-FA4B-2DBE-F4BEB9DA6056}"/>
              </a:ext>
            </a:extLst>
          </p:cNvPr>
          <p:cNvSpPr/>
          <p:nvPr/>
        </p:nvSpPr>
        <p:spPr>
          <a:xfrm>
            <a:off x="11569186" y="2617563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5B9FFA79-4BE2-FB1B-FC49-C4B05FF68F04}"/>
              </a:ext>
            </a:extLst>
          </p:cNvPr>
          <p:cNvSpPr/>
          <p:nvPr/>
        </p:nvSpPr>
        <p:spPr>
          <a:xfrm>
            <a:off x="11569186" y="4788229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DF0276AB-443C-4C8C-289E-72B04849696E}"/>
              </a:ext>
            </a:extLst>
          </p:cNvPr>
          <p:cNvSpPr/>
          <p:nvPr/>
        </p:nvSpPr>
        <p:spPr>
          <a:xfrm>
            <a:off x="11569186" y="5750957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2C571B9A-476C-730C-7891-FF39FC5B8768}"/>
              </a:ext>
            </a:extLst>
          </p:cNvPr>
          <p:cNvSpPr/>
          <p:nvPr/>
        </p:nvSpPr>
        <p:spPr>
          <a:xfrm>
            <a:off x="11569186" y="6195847"/>
            <a:ext cx="296780" cy="293815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1A15BD62-4DA6-59AA-4FA6-7C34F1AF48C0}"/>
              </a:ext>
            </a:extLst>
          </p:cNvPr>
          <p:cNvSpPr/>
          <p:nvPr/>
        </p:nvSpPr>
        <p:spPr>
          <a:xfrm>
            <a:off x="3779569" y="77638"/>
            <a:ext cx="1974250" cy="49170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FFFFFF"/>
                </a:solidFill>
                <a:latin typeface="Arial"/>
              </a:rPr>
              <a:t>genomförda under 2024</a:t>
            </a:r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148D60B9-4676-B4BD-DCD3-E165ED85E182}"/>
              </a:ext>
            </a:extLst>
          </p:cNvPr>
          <p:cNvSpPr/>
          <p:nvPr/>
        </p:nvSpPr>
        <p:spPr>
          <a:xfrm>
            <a:off x="11580865" y="1148749"/>
            <a:ext cx="296780" cy="293815"/>
          </a:xfrm>
          <a:prstGeom prst="ellipse">
            <a:avLst/>
          </a:prstGeom>
          <a:gradFill>
            <a:gsLst>
              <a:gs pos="35000">
                <a:schemeClr val="accent5"/>
              </a:gs>
              <a:gs pos="75000">
                <a:srgbClr val="00B050"/>
              </a:gs>
              <a:gs pos="99000">
                <a:schemeClr val="accent4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454431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/>
        </p:nvGraphicFramePr>
        <p:xfrm>
          <a:off x="15498" y="0"/>
          <a:ext cx="12176501" cy="668547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720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015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3323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722748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279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</a:t>
                      </a:r>
                      <a:r>
                        <a:rPr lang="sv-SE" sz="1600" i="1" dirty="0"/>
                        <a:t>patientlöften</a:t>
                      </a:r>
                      <a:endParaRPr lang="sv-SE" sz="1600" i="1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9661"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+mj-lt"/>
                        </a:rPr>
                        <a:t>NAG HNS audiologi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ering av vårdförlopp (PSVF)</a:t>
                      </a:r>
                      <a:r>
                        <a:rPr lang="sv-SE" sz="13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rav hörselnedsättning </a:t>
                      </a:r>
                    </a:p>
                    <a:p>
                      <a:endParaRPr lang="sv-SE" sz="1300" i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och uppföljn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mensamma prioriteringar under</a:t>
                      </a:r>
                      <a:r>
                        <a:rPr lang="sv-SE" sz="120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införandet genom samverkan mellan hörselvårdschefer och RAG audiologi. 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omfört , aktiviteten avslutas november 2023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378023"/>
                  </a:ext>
                </a:extLst>
              </a:tr>
              <a:tr h="97474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b="1" i="0" dirty="0">
                          <a:latin typeface="+mj-lt"/>
                        </a:rPr>
                        <a:t>Ej specifikt område utan berör samtliga insatsområde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b="1" dirty="0">
                          <a:solidFill>
                            <a:schemeClr val="tx1"/>
                          </a:solidFill>
                          <a:latin typeface="+mj-lt"/>
                        </a:rPr>
                        <a:t>Ökat</a:t>
                      </a:r>
                      <a:r>
                        <a:rPr lang="sv-SE" sz="1300" b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 vetenskapligt utbyte inom SÖSR</a:t>
                      </a:r>
                      <a:br>
                        <a:rPr lang="sv-SE" sz="130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30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sv-SE" sz="1200" i="1" baseline="0" dirty="0">
                          <a:solidFill>
                            <a:schemeClr val="tx1"/>
                          </a:solidFill>
                          <a:latin typeface="+mj-lt"/>
                        </a:rPr>
                        <a:t>För att facilitera och involvera arbete med patientnära forskning</a:t>
                      </a:r>
                      <a:endParaRPr lang="sv-SE" sz="1200" i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tt uppföljande gemensamt vetenskapligt möte 2023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Genomfördes i majmånad i Linköping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6734397"/>
                  </a:ext>
                </a:extLst>
              </a:tr>
              <a:tr h="1350040"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+mj-lt"/>
                        </a:rPr>
                        <a:t>Kunskapsstö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1" dirty="0">
                          <a:solidFill>
                            <a:schemeClr val="tx1"/>
                          </a:solidFill>
                          <a:latin typeface="+mj-lt"/>
                        </a:rPr>
                        <a:t>Implementering av kunskapsstöd</a:t>
                      </a:r>
                      <a:br>
                        <a:rPr lang="sv-SE" sz="13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endParaRPr lang="sv-SE" sz="130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diagnostik och behandling enligt bästa kunskap i varje möte och för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tvärdering</a:t>
                      </a:r>
                      <a:r>
                        <a:rPr lang="sv-SE" sz="120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v behovet av stödorganisation för implementering av vårdförlopp (PSVF)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</a:rPr>
                        <a:t>Beslut 2022 att stämma av inför att nya PSVF publicerats och ska införas. Beslut november 2023 att respektive region tar eget ansvar för att slutföra handläggning och införand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576250"/>
                  </a:ext>
                </a:extLst>
              </a:tr>
              <a:tr h="1083172">
                <a:tc>
                  <a:txBody>
                    <a:bodyPr/>
                    <a:lstStyle/>
                    <a:p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uvud- och halscanc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300" b="1" baseline="0" dirty="0">
                          <a:latin typeface="+mj-lt"/>
                        </a:rPr>
                        <a:t>Hudsarkom </a:t>
                      </a:r>
                    </a:p>
                    <a:p>
                      <a:pPr lvl="0"/>
                      <a:r>
                        <a:rPr lang="sv-SE" sz="1200" b="0" i="1" baseline="0" dirty="0">
                          <a:latin typeface="+mj-lt"/>
                        </a:rPr>
                        <a:t>för att erbjuda diagnostik och behandling och uppföljning enligt bästa kunskap i varje möte och för jämlik vård</a:t>
                      </a:r>
                    </a:p>
                    <a:p>
                      <a:pPr lvl="0"/>
                      <a:endParaRPr lang="sv-SE" sz="1200" b="0" i="1" baseline="0" dirty="0">
                        <a:latin typeface="+mj-lt"/>
                      </a:endParaRPr>
                    </a:p>
                    <a:p>
                      <a:pPr lvl="0"/>
                      <a:r>
                        <a:rPr lang="sv-SE" sz="1200" b="0" i="1" baseline="0" dirty="0">
                          <a:latin typeface="+mj-lt"/>
                        </a:rPr>
                        <a:t>få tillgång till patientsäker vård</a:t>
                      </a:r>
                      <a:endParaRPr lang="sv-SE" sz="13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ramtagande av gemensam riktlinje för handläggning av hudsarkom</a:t>
                      </a:r>
                      <a:r>
                        <a:rPr lang="sv-SE" sz="1200" b="0" i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i SÖSR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Genomfört och publicerat våren 2023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45992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1" baseline="0" dirty="0">
                          <a:latin typeface="+mj-lt"/>
                        </a:rPr>
                        <a:t>NAG</a:t>
                      </a:r>
                    </a:p>
                    <a:p>
                      <a:endParaRPr lang="sv-SE" sz="1200" b="1" baseline="0" dirty="0">
                        <a:latin typeface="+mj-lt"/>
                      </a:endParaRPr>
                    </a:p>
                    <a:p>
                      <a:r>
                        <a:rPr lang="sv-SE" sz="1200" b="1" baseline="0" dirty="0">
                          <a:latin typeface="+mj-lt"/>
                        </a:rPr>
                        <a:t>NPO ÖNH i samarbete med NPO Barn och ungdomars hälsa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b="1" baseline="0" dirty="0">
                          <a:latin typeface="+mj-lt"/>
                        </a:rPr>
                        <a:t>Jämlik vård vid tungbandsbedömning hos barn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ör att erbjuda kostnadseffektiv, diagnostik, behandling och uppföljning enligt bästa kunskap i varje möte och för jämlik vård</a:t>
                      </a:r>
                      <a:br>
                        <a:rPr lang="sv-SE" sz="12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sv-SE" sz="1200" i="1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1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Bryant Regular"/>
                          <a:cs typeface="Arial" panose="020B0604020202020204" pitchFamily="34" charset="0"/>
                        </a:rPr>
                        <a:t>För att patienten och närstående ska vara delaktig och välinformerad genom hela vårdkedjan </a:t>
                      </a:r>
                      <a:endParaRPr lang="sv-SE" sz="1200" i="0" baseline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i="1" kern="1200" dirty="0">
                          <a:solidFill>
                            <a:srgbClr val="39393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gionala riktlinjer finns på plats i sydöstra regionen och tillämpas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300" kern="1200" baseline="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Genomfört och publicerat våren 2023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kern="1200" baseline="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181131"/>
                  </a:ext>
                </a:extLst>
              </a:tr>
            </a:tbl>
          </a:graphicData>
        </a:graphic>
      </p:graphicFrame>
      <p:sp>
        <p:nvSpPr>
          <p:cNvPr id="6" name="Ellips 5">
            <a:extLst>
              <a:ext uri="{FF2B5EF4-FFF2-40B4-BE49-F238E27FC236}">
                <a16:creationId xmlns:a16="http://schemas.microsoft.com/office/drawing/2014/main" id="{8A421B5C-9AD7-44C2-02C9-2BB4FEC1BBE2}"/>
              </a:ext>
            </a:extLst>
          </p:cNvPr>
          <p:cNvSpPr/>
          <p:nvPr/>
        </p:nvSpPr>
        <p:spPr>
          <a:xfrm>
            <a:off x="11569186" y="2131169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B27AEFBA-AFC8-FA4B-2DBE-F4BEB9DA6056}"/>
              </a:ext>
            </a:extLst>
          </p:cNvPr>
          <p:cNvSpPr/>
          <p:nvPr/>
        </p:nvSpPr>
        <p:spPr>
          <a:xfrm>
            <a:off x="11569186" y="1122514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5B9FFA79-4BE2-FB1B-FC49-C4B05FF68F04}"/>
              </a:ext>
            </a:extLst>
          </p:cNvPr>
          <p:cNvSpPr/>
          <p:nvPr/>
        </p:nvSpPr>
        <p:spPr>
          <a:xfrm>
            <a:off x="11569186" y="3290505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DF0276AB-443C-4C8C-289E-72B04849696E}"/>
              </a:ext>
            </a:extLst>
          </p:cNvPr>
          <p:cNvSpPr/>
          <p:nvPr/>
        </p:nvSpPr>
        <p:spPr>
          <a:xfrm>
            <a:off x="11569186" y="4596748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2C571B9A-476C-730C-7891-FF39FC5B8768}"/>
              </a:ext>
            </a:extLst>
          </p:cNvPr>
          <p:cNvSpPr/>
          <p:nvPr/>
        </p:nvSpPr>
        <p:spPr>
          <a:xfrm>
            <a:off x="11569186" y="5785944"/>
            <a:ext cx="296780" cy="29381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6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Ellips 6">
            <a:extLst>
              <a:ext uri="{FF2B5EF4-FFF2-40B4-BE49-F238E27FC236}">
                <a16:creationId xmlns:a16="http://schemas.microsoft.com/office/drawing/2014/main" id="{1A15BD62-4DA6-59AA-4FA6-7C34F1AF48C0}"/>
              </a:ext>
            </a:extLst>
          </p:cNvPr>
          <p:cNvSpPr/>
          <p:nvPr/>
        </p:nvSpPr>
        <p:spPr>
          <a:xfrm>
            <a:off x="3779569" y="77638"/>
            <a:ext cx="1974250" cy="491705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>
                <a:solidFill>
                  <a:srgbClr val="FFFFFF"/>
                </a:solidFill>
                <a:latin typeface="Arial"/>
              </a:rPr>
              <a:t>genomförda under 2023</a:t>
            </a:r>
          </a:p>
        </p:txBody>
      </p:sp>
    </p:spTree>
    <p:extLst>
      <p:ext uri="{BB962C8B-B14F-4D97-AF65-F5344CB8AC3E}">
        <p14:creationId xmlns:p14="http://schemas.microsoft.com/office/powerpoint/2010/main" val="1004477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56</TotalTime>
  <Words>1543</Words>
  <Application>Microsoft Office PowerPoint</Application>
  <PresentationFormat>Bredbild</PresentationFormat>
  <Paragraphs>160</Paragraphs>
  <Slides>6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2" baseType="lpstr">
      <vt:lpstr>Arial</vt:lpstr>
      <vt:lpstr>Calibri</vt:lpstr>
      <vt:lpstr>Times New Roman</vt:lpstr>
      <vt:lpstr>Verdana</vt:lpstr>
      <vt:lpstr>1_Office-tema</vt:lpstr>
      <vt:lpstr>think-cell Slide</vt:lpstr>
      <vt:lpstr>RPO ÖNH  Översiktlig handlingsplan för 2025  Uppdaterad: 2025-05-05 (vers. 10)</vt:lpstr>
      <vt:lpstr>Instruktioner</vt:lpstr>
      <vt:lpstr>PowerPoint-presentation</vt:lpstr>
      <vt:lpstr>PowerPoint-presentation</vt:lpstr>
      <vt:lpstr>PowerPoint-presentation</vt:lpstr>
      <vt:lpstr>PowerPoint-presentation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Leni Lagerqvist</cp:lastModifiedBy>
  <cp:revision>184</cp:revision>
  <dcterms:created xsi:type="dcterms:W3CDTF">2020-10-30T06:43:58Z</dcterms:created>
  <dcterms:modified xsi:type="dcterms:W3CDTF">2025-05-06T15:10:39Z</dcterms:modified>
</cp:coreProperties>
</file>